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D$2:$D$266</c:f>
              <c:numCache>
                <c:formatCode>#,##0</c:formatCode>
                <c:ptCount val="26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2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2</c:v>
                </c:pt>
                <c:pt idx="203">
                  <c:v>931</c:v>
                </c:pt>
                <c:pt idx="204">
                  <c:v>923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6</c:v>
                </c:pt>
                <c:pt idx="228">
                  <c:v>488</c:v>
                </c:pt>
                <c:pt idx="229">
                  <c:v>493</c:v>
                </c:pt>
                <c:pt idx="230">
                  <c:v>491</c:v>
                </c:pt>
                <c:pt idx="231">
                  <c:v>474</c:v>
                </c:pt>
                <c:pt idx="232">
                  <c:v>462</c:v>
                </c:pt>
                <c:pt idx="233">
                  <c:v>416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1</c:v>
                </c:pt>
                <c:pt idx="241">
                  <c:v>277</c:v>
                </c:pt>
                <c:pt idx="242">
                  <c:v>261</c:v>
                </c:pt>
                <c:pt idx="243">
                  <c:v>267</c:v>
                </c:pt>
                <c:pt idx="244">
                  <c:v>264</c:v>
                </c:pt>
                <c:pt idx="245">
                  <c:v>252</c:v>
                </c:pt>
                <c:pt idx="246">
                  <c:v>234</c:v>
                </c:pt>
                <c:pt idx="247">
                  <c:v>220</c:v>
                </c:pt>
                <c:pt idx="248">
                  <c:v>203</c:v>
                </c:pt>
                <c:pt idx="249">
                  <c:v>186</c:v>
                </c:pt>
                <c:pt idx="250">
                  <c:v>184</c:v>
                </c:pt>
                <c:pt idx="251">
                  <c:v>186</c:v>
                </c:pt>
                <c:pt idx="252">
                  <c:v>164</c:v>
                </c:pt>
                <c:pt idx="253">
                  <c:v>153</c:v>
                </c:pt>
                <c:pt idx="254">
                  <c:v>152</c:v>
                </c:pt>
                <c:pt idx="255">
                  <c:v>138</c:v>
                </c:pt>
                <c:pt idx="256">
                  <c:v>122</c:v>
                </c:pt>
                <c:pt idx="257">
                  <c:v>122</c:v>
                </c:pt>
                <c:pt idx="258">
                  <c:v>113</c:v>
                </c:pt>
                <c:pt idx="259">
                  <c:v>109</c:v>
                </c:pt>
                <c:pt idx="260">
                  <c:v>101</c:v>
                </c:pt>
                <c:pt idx="261">
                  <c:v>91</c:v>
                </c:pt>
                <c:pt idx="262">
                  <c:v>72</c:v>
                </c:pt>
                <c:pt idx="263">
                  <c:v>68</c:v>
                </c:pt>
                <c:pt idx="264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DAD-4C57-AB7F-CE4A9AD063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B$2:$B$266</c:f>
              <c:numCache>
                <c:formatCode>#,##0</c:formatCode>
                <c:ptCount val="26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C$2:$C$266</c:f>
              <c:numCache>
                <c:formatCode>#,##0</c:formatCode>
                <c:ptCount val="2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D$2:$D$266</c:f>
              <c:numCache>
                <c:formatCode>#,##0</c:formatCode>
                <c:ptCount val="26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6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7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6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1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7</c:v>
                </c:pt>
                <c:pt idx="173">
                  <c:v>2808</c:v>
                </c:pt>
                <c:pt idx="174">
                  <c:v>3000</c:v>
                </c:pt>
                <c:pt idx="175">
                  <c:v>3017</c:v>
                </c:pt>
                <c:pt idx="176">
                  <c:v>3028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4</c:v>
                </c:pt>
                <c:pt idx="187">
                  <c:v>3873</c:v>
                </c:pt>
                <c:pt idx="188">
                  <c:v>3924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2</c:v>
                </c:pt>
                <c:pt idx="198">
                  <c:v>3994</c:v>
                </c:pt>
                <c:pt idx="199">
                  <c:v>3791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0</c:v>
                </c:pt>
                <c:pt idx="204">
                  <c:v>3536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6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3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9</c:v>
                </c:pt>
                <c:pt idx="237">
                  <c:v>1296</c:v>
                </c:pt>
                <c:pt idx="238">
                  <c:v>1272</c:v>
                </c:pt>
                <c:pt idx="239">
                  <c:v>1230</c:v>
                </c:pt>
                <c:pt idx="240">
                  <c:v>1174</c:v>
                </c:pt>
                <c:pt idx="241">
                  <c:v>1127</c:v>
                </c:pt>
                <c:pt idx="242">
                  <c:v>1134</c:v>
                </c:pt>
                <c:pt idx="243">
                  <c:v>1127</c:v>
                </c:pt>
                <c:pt idx="244">
                  <c:v>1121</c:v>
                </c:pt>
                <c:pt idx="245">
                  <c:v>1053</c:v>
                </c:pt>
                <c:pt idx="246">
                  <c:v>989</c:v>
                </c:pt>
                <c:pt idx="247">
                  <c:v>916</c:v>
                </c:pt>
                <c:pt idx="248">
                  <c:v>851</c:v>
                </c:pt>
                <c:pt idx="249">
                  <c:v>808</c:v>
                </c:pt>
                <c:pt idx="250">
                  <c:v>809</c:v>
                </c:pt>
                <c:pt idx="251">
                  <c:v>773</c:v>
                </c:pt>
                <c:pt idx="252">
                  <c:v>725</c:v>
                </c:pt>
                <c:pt idx="253">
                  <c:v>655</c:v>
                </c:pt>
                <c:pt idx="254">
                  <c:v>636</c:v>
                </c:pt>
                <c:pt idx="255">
                  <c:v>614</c:v>
                </c:pt>
                <c:pt idx="256">
                  <c:v>552</c:v>
                </c:pt>
                <c:pt idx="257">
                  <c:v>550</c:v>
                </c:pt>
                <c:pt idx="258">
                  <c:v>521</c:v>
                </c:pt>
                <c:pt idx="259">
                  <c:v>462</c:v>
                </c:pt>
                <c:pt idx="260">
                  <c:v>424</c:v>
                </c:pt>
                <c:pt idx="261">
                  <c:v>392</c:v>
                </c:pt>
                <c:pt idx="262">
                  <c:v>376</c:v>
                </c:pt>
                <c:pt idx="263">
                  <c:v>369</c:v>
                </c:pt>
                <c:pt idx="264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5-4B58-B029-5202CA06EB5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B$2:$B$266</c:f>
              <c:numCache>
                <c:formatCode>#,##0</c:formatCode>
                <c:ptCount val="26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C$2:$C$266</c:f>
              <c:numCache>
                <c:formatCode>#,##0</c:formatCode>
                <c:ptCount val="2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D$2:$D$266</c:f>
              <c:numCache>
                <c:formatCode>#,##0</c:formatCode>
                <c:ptCount val="2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B79-467C-B15B-A200BA5F4BB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B$2:$B$266</c:f>
              <c:numCache>
                <c:formatCode>#,##0</c:formatCode>
                <c:ptCount val="26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C$2:$C$266</c:f>
              <c:numCache>
                <c:formatCode>#,##0</c:formatCode>
                <c:ptCount val="2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D$2:$D$266</c:f>
              <c:numCache>
                <c:formatCode>#,##0</c:formatCode>
                <c:ptCount val="26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3</c:v>
                </c:pt>
                <c:pt idx="196">
                  <c:v>1892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3</c:v>
                </c:pt>
                <c:pt idx="217">
                  <c:v>1393</c:v>
                </c:pt>
                <c:pt idx="218">
                  <c:v>1359</c:v>
                </c:pt>
                <c:pt idx="219">
                  <c:v>1313</c:v>
                </c:pt>
                <c:pt idx="220">
                  <c:v>1234</c:v>
                </c:pt>
                <c:pt idx="221">
                  <c:v>1215</c:v>
                </c:pt>
                <c:pt idx="222">
                  <c:v>1197</c:v>
                </c:pt>
                <c:pt idx="223">
                  <c:v>1184</c:v>
                </c:pt>
                <c:pt idx="224">
                  <c:v>1156</c:v>
                </c:pt>
                <c:pt idx="225">
                  <c:v>1112</c:v>
                </c:pt>
                <c:pt idx="226">
                  <c:v>1034</c:v>
                </c:pt>
                <c:pt idx="227">
                  <c:v>1012</c:v>
                </c:pt>
                <c:pt idx="228">
                  <c:v>972</c:v>
                </c:pt>
                <c:pt idx="229">
                  <c:v>974</c:v>
                </c:pt>
                <c:pt idx="230">
                  <c:v>994</c:v>
                </c:pt>
                <c:pt idx="231">
                  <c:v>942</c:v>
                </c:pt>
                <c:pt idx="232">
                  <c:v>907</c:v>
                </c:pt>
                <c:pt idx="233">
                  <c:v>832</c:v>
                </c:pt>
                <c:pt idx="234">
                  <c:v>786</c:v>
                </c:pt>
                <c:pt idx="235">
                  <c:v>750</c:v>
                </c:pt>
                <c:pt idx="236">
                  <c:v>758</c:v>
                </c:pt>
                <c:pt idx="237">
                  <c:v>736</c:v>
                </c:pt>
                <c:pt idx="238">
                  <c:v>711</c:v>
                </c:pt>
                <c:pt idx="239">
                  <c:v>684</c:v>
                </c:pt>
                <c:pt idx="240">
                  <c:v>635</c:v>
                </c:pt>
                <c:pt idx="241">
                  <c:v>577</c:v>
                </c:pt>
                <c:pt idx="242">
                  <c:v>553</c:v>
                </c:pt>
                <c:pt idx="243">
                  <c:v>559</c:v>
                </c:pt>
                <c:pt idx="244">
                  <c:v>565</c:v>
                </c:pt>
                <c:pt idx="245">
                  <c:v>546</c:v>
                </c:pt>
                <c:pt idx="246">
                  <c:v>503</c:v>
                </c:pt>
                <c:pt idx="247">
                  <c:v>467</c:v>
                </c:pt>
                <c:pt idx="248">
                  <c:v>444</c:v>
                </c:pt>
                <c:pt idx="249">
                  <c:v>415</c:v>
                </c:pt>
                <c:pt idx="250">
                  <c:v>421</c:v>
                </c:pt>
                <c:pt idx="251">
                  <c:v>426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39</c:v>
                </c:pt>
                <c:pt idx="256">
                  <c:v>306</c:v>
                </c:pt>
                <c:pt idx="257">
                  <c:v>301</c:v>
                </c:pt>
                <c:pt idx="258">
                  <c:v>292</c:v>
                </c:pt>
                <c:pt idx="259">
                  <c:v>274</c:v>
                </c:pt>
                <c:pt idx="260">
                  <c:v>245</c:v>
                </c:pt>
                <c:pt idx="261">
                  <c:v>209</c:v>
                </c:pt>
                <c:pt idx="262">
                  <c:v>174</c:v>
                </c:pt>
                <c:pt idx="263">
                  <c:v>172</c:v>
                </c:pt>
                <c:pt idx="264">
                  <c:v>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94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1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50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1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B$2:$B$266</c:f>
              <c:numCache>
                <c:formatCode>#,##0</c:formatCode>
                <c:ptCount val="26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6</c:f>
              <c:numCache>
                <c:formatCode>m/d/yyyy</c:formatCode>
                <c:ptCount val="26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</c:numCache>
            </c:numRef>
          </c:cat>
          <c:val>
            <c:numRef>
              <c:f>Sheet1!$C$2:$C$266</c:f>
              <c:numCache>
                <c:formatCode>#,##0</c:formatCode>
                <c:ptCount val="2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4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4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4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72140939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76324134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9198428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12926759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704065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756575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23</TotalTime>
  <Words>1038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80</cp:revision>
  <dcterms:created xsi:type="dcterms:W3CDTF">2020-08-08T14:25:07Z</dcterms:created>
  <dcterms:modified xsi:type="dcterms:W3CDTF">2021-05-24T03:15:57Z</dcterms:modified>
</cp:coreProperties>
</file>